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</p:sldMasterIdLst>
  <p:notesMasterIdLst>
    <p:notesMasterId r:id="rId23"/>
  </p:notesMasterIdLst>
  <p:handoutMasterIdLst>
    <p:handoutMasterId r:id="rId24"/>
  </p:handoutMasterIdLst>
  <p:sldIdLst>
    <p:sldId id="1277" r:id="rId4"/>
    <p:sldId id="1293" r:id="rId5"/>
    <p:sldId id="1294" r:id="rId6"/>
    <p:sldId id="1296" r:id="rId7"/>
    <p:sldId id="1359" r:id="rId8"/>
    <p:sldId id="1368" r:id="rId9"/>
    <p:sldId id="1371" r:id="rId10"/>
    <p:sldId id="1370" r:id="rId11"/>
    <p:sldId id="1362" r:id="rId12"/>
    <p:sldId id="1360" r:id="rId13"/>
    <p:sldId id="1361" r:id="rId14"/>
    <p:sldId id="1372" r:id="rId15"/>
    <p:sldId id="1366" r:id="rId16"/>
    <p:sldId id="1364" r:id="rId17"/>
    <p:sldId id="1369" r:id="rId18"/>
    <p:sldId id="1343" r:id="rId19"/>
    <p:sldId id="1344" r:id="rId20"/>
    <p:sldId id="1345" r:id="rId21"/>
    <p:sldId id="1346" r:id="rId2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68"/>
            <p14:sldId id="1371"/>
            <p14:sldId id="1370"/>
            <p14:sldId id="1362"/>
            <p14:sldId id="1360"/>
            <p14:sldId id="1361"/>
            <p14:sldId id="1372"/>
            <p14:sldId id="1366"/>
            <p14:sldId id="1364"/>
            <p14:sldId id="1369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E26-4630-A812-777EA7EFC430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Jihomoravský kraj</c:v>
                </c:pt>
                <c:pt idx="4">
                  <c:v>Jihočeský kraj</c:v>
                </c:pt>
                <c:pt idx="5">
                  <c:v>Liberecký kraj</c:v>
                </c:pt>
                <c:pt idx="6">
                  <c:v>Pardubic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5825186888999999</c:v>
                </c:pt>
                <c:pt idx="1">
                  <c:v>0.35813953488299999</c:v>
                </c:pt>
                <c:pt idx="2">
                  <c:v>0.31199502796700002</c:v>
                </c:pt>
                <c:pt idx="3">
                  <c:v>0.31013916500900002</c:v>
                </c:pt>
                <c:pt idx="4">
                  <c:v>0.291921664626</c:v>
                </c:pt>
                <c:pt idx="5">
                  <c:v>0.26322263222600001</c:v>
                </c:pt>
                <c:pt idx="6">
                  <c:v>0.25083240843499999</c:v>
                </c:pt>
                <c:pt idx="7">
                  <c:v>0.24449038842199999</c:v>
                </c:pt>
                <c:pt idx="8">
                  <c:v>0.23731138545899999</c:v>
                </c:pt>
                <c:pt idx="9">
                  <c:v>0.22616407982200001</c:v>
                </c:pt>
                <c:pt idx="10">
                  <c:v>0.21388101982999999</c:v>
                </c:pt>
                <c:pt idx="11">
                  <c:v>0.19138755980800001</c:v>
                </c:pt>
                <c:pt idx="12">
                  <c:v>0.18396987627700001</c:v>
                </c:pt>
                <c:pt idx="13">
                  <c:v>0.13696892834400001</c:v>
                </c:pt>
                <c:pt idx="14">
                  <c:v>0.134807417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4F6-4B98-A87E-16778D7885BE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04-40BF-837A-EC3075975C21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moravský kraj</c:v>
                </c:pt>
                <c:pt idx="3">
                  <c:v>Pardubický kraj</c:v>
                </c:pt>
                <c:pt idx="4">
                  <c:v>Královéhradecký kraj</c:v>
                </c:pt>
                <c:pt idx="5">
                  <c:v>Zlínský kraj</c:v>
                </c:pt>
                <c:pt idx="6">
                  <c:v>Jihočeský kraj</c:v>
                </c:pt>
                <c:pt idx="7">
                  <c:v>Olomouc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Plzeňský kraj</c:v>
                </c:pt>
                <c:pt idx="11">
                  <c:v>Ústec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41592920353899998</c:v>
                </c:pt>
                <c:pt idx="1">
                  <c:v>0.41414141414099997</c:v>
                </c:pt>
                <c:pt idx="2">
                  <c:v>0.38425925925900001</c:v>
                </c:pt>
                <c:pt idx="3">
                  <c:v>0.35114503816699999</c:v>
                </c:pt>
                <c:pt idx="4">
                  <c:v>0.33478260869499998</c:v>
                </c:pt>
                <c:pt idx="5">
                  <c:v>0.32240437158399998</c:v>
                </c:pt>
                <c:pt idx="6">
                  <c:v>0.29931972789099998</c:v>
                </c:pt>
                <c:pt idx="7">
                  <c:v>0.28865979381399998</c:v>
                </c:pt>
                <c:pt idx="8">
                  <c:v>0.28414096916199999</c:v>
                </c:pt>
                <c:pt idx="9">
                  <c:v>0.28290766208200002</c:v>
                </c:pt>
                <c:pt idx="10">
                  <c:v>0.26315789473599999</c:v>
                </c:pt>
                <c:pt idx="11">
                  <c:v>0.25660377358399999</c:v>
                </c:pt>
                <c:pt idx="12">
                  <c:v>0.20792079207899999</c:v>
                </c:pt>
                <c:pt idx="13">
                  <c:v>0.20481927710799999</c:v>
                </c:pt>
                <c:pt idx="14">
                  <c:v>0.17070063694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81-497E-AFA1-C45C5FDAC5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Středočeský kraj</c:v>
                </c:pt>
                <c:pt idx="2">
                  <c:v>Jihočeský kraj</c:v>
                </c:pt>
                <c:pt idx="3">
                  <c:v>Jihomoravský kraj</c:v>
                </c:pt>
                <c:pt idx="4">
                  <c:v>Olomoucký kraj</c:v>
                </c:pt>
                <c:pt idx="5">
                  <c:v>Pardubický kraj</c:v>
                </c:pt>
                <c:pt idx="6">
                  <c:v>Kraj Vysočina</c:v>
                </c:pt>
                <c:pt idx="7">
                  <c:v>Královéhradec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Moravskoslezský kraj</c:v>
                </c:pt>
                <c:pt idx="11">
                  <c:v>Liberecký kraj</c:v>
                </c:pt>
                <c:pt idx="12">
                  <c:v>Karlovarský kraj</c:v>
                </c:pt>
                <c:pt idx="13">
                  <c:v>Plzeň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6956521739100001</c:v>
                </c:pt>
                <c:pt idx="1">
                  <c:v>0.34615384615299999</c:v>
                </c:pt>
                <c:pt idx="2">
                  <c:v>0.328125</c:v>
                </c:pt>
                <c:pt idx="3">
                  <c:v>0.32489451476699999</c:v>
                </c:pt>
                <c:pt idx="4">
                  <c:v>0.25352112675999999</c:v>
                </c:pt>
                <c:pt idx="5">
                  <c:v>0.225806451612</c:v>
                </c:pt>
                <c:pt idx="6">
                  <c:v>0.225806451612</c:v>
                </c:pt>
                <c:pt idx="7">
                  <c:v>0.210526315789</c:v>
                </c:pt>
                <c:pt idx="8">
                  <c:v>0.202735710796</c:v>
                </c:pt>
                <c:pt idx="9">
                  <c:v>0.184873949579</c:v>
                </c:pt>
                <c:pt idx="10">
                  <c:v>0.181229773462</c:v>
                </c:pt>
                <c:pt idx="11">
                  <c:v>0.14814814814800001</c:v>
                </c:pt>
                <c:pt idx="12">
                  <c:v>0.13953488372</c:v>
                </c:pt>
                <c:pt idx="13">
                  <c:v>0.13793103448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3</c:v>
                </c:pt>
                <c:pt idx="18">
                  <c:v>734</c:v>
                </c:pt>
                <c:pt idx="19">
                  <c:v>795</c:v>
                </c:pt>
                <c:pt idx="20">
                  <c:v>850</c:v>
                </c:pt>
                <c:pt idx="21">
                  <c:v>922</c:v>
                </c:pt>
                <c:pt idx="22">
                  <c:v>929</c:v>
                </c:pt>
                <c:pt idx="23">
                  <c:v>992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3</c:v>
                </c:pt>
                <c:pt idx="33">
                  <c:v>2495</c:v>
                </c:pt>
                <c:pt idx="34">
                  <c:v>2657</c:v>
                </c:pt>
                <c:pt idx="35">
                  <c:v>2801</c:v>
                </c:pt>
                <c:pt idx="36">
                  <c:v>2801</c:v>
                </c:pt>
                <c:pt idx="37">
                  <c:v>2952</c:v>
                </c:pt>
                <c:pt idx="38">
                  <c:v>3413</c:v>
                </c:pt>
                <c:pt idx="39">
                  <c:v>3609</c:v>
                </c:pt>
                <c:pt idx="40">
                  <c:v>3756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0</c:v>
                </c:pt>
                <c:pt idx="45">
                  <c:v>4786</c:v>
                </c:pt>
                <c:pt idx="46">
                  <c:v>4863</c:v>
                </c:pt>
                <c:pt idx="47">
                  <c:v>4822</c:v>
                </c:pt>
                <c:pt idx="48">
                  <c:v>5188</c:v>
                </c:pt>
                <c:pt idx="49">
                  <c:v>5314</c:v>
                </c:pt>
                <c:pt idx="50">
                  <c:v>5206</c:v>
                </c:pt>
                <c:pt idx="51">
                  <c:v>5421</c:v>
                </c:pt>
                <c:pt idx="52">
                  <c:v>6015</c:v>
                </c:pt>
                <c:pt idx="53">
                  <c:v>6124</c:v>
                </c:pt>
                <c:pt idx="54">
                  <c:v>6217</c:v>
                </c:pt>
                <c:pt idx="55">
                  <c:v>6329</c:v>
                </c:pt>
                <c:pt idx="56">
                  <c:v>6428</c:v>
                </c:pt>
                <c:pt idx="57">
                  <c:v>6211</c:v>
                </c:pt>
                <c:pt idx="58">
                  <c:v>6414</c:v>
                </c:pt>
                <c:pt idx="59">
                  <c:v>7086</c:v>
                </c:pt>
                <c:pt idx="60">
                  <c:v>7019</c:v>
                </c:pt>
                <c:pt idx="61">
                  <c:v>6969</c:v>
                </c:pt>
                <c:pt idx="62">
                  <c:v>7067</c:v>
                </c:pt>
                <c:pt idx="63">
                  <c:v>7027</c:v>
                </c:pt>
                <c:pt idx="64">
                  <c:v>6565</c:v>
                </c:pt>
                <c:pt idx="65">
                  <c:v>6675</c:v>
                </c:pt>
                <c:pt idx="66">
                  <c:v>7112</c:v>
                </c:pt>
                <c:pt idx="67">
                  <c:v>6941</c:v>
                </c:pt>
                <c:pt idx="68">
                  <c:v>6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4</c:v>
                </c:pt>
                <c:pt idx="55">
                  <c:v>890</c:v>
                </c:pt>
                <c:pt idx="56">
                  <c:v>910</c:v>
                </c:pt>
                <c:pt idx="57">
                  <c:v>928</c:v>
                </c:pt>
                <c:pt idx="58">
                  <c:v>941</c:v>
                </c:pt>
                <c:pt idx="59">
                  <c:v>986</c:v>
                </c:pt>
                <c:pt idx="60">
                  <c:v>989</c:v>
                </c:pt>
                <c:pt idx="61">
                  <c:v>980</c:v>
                </c:pt>
                <c:pt idx="62">
                  <c:v>971</c:v>
                </c:pt>
                <c:pt idx="63">
                  <c:v>966</c:v>
                </c:pt>
                <c:pt idx="64">
                  <c:v>937</c:v>
                </c:pt>
                <c:pt idx="65">
                  <c:v>964</c:v>
                </c:pt>
                <c:pt idx="66">
                  <c:v>986</c:v>
                </c:pt>
                <c:pt idx="67">
                  <c:v>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1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1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299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7062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862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43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8341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497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83655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8408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2850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4522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1259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9800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8265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62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1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3465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245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9505286"/>
              </p:ext>
            </p:extLst>
          </p:nvPr>
        </p:nvGraphicFramePr>
        <p:xfrm>
          <a:off x="419549" y="1798915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39AFBC5B-9443-4749-B91D-5312BC772CE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2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7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5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2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7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49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62038" y="6127222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9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57112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8BF623F-529C-4765-91BE-5F9771F0870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0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772413" y="60452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9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847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317330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11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2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573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67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k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a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srovnání s loňským podzimem datům z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14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2020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9">
            <a:extLst>
              <a:ext uri="{FF2B5EF4-FFF2-40B4-BE49-F238E27FC236}">
                <a16:creationId xmlns:a16="http://schemas.microsoft.com/office/drawing/2014/main" id="{1D25E3E8-FB17-40B0-9079-941C4573446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9908" y="1213339"/>
            <a:ext cx="8563708" cy="511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4190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isk </a:t>
            </a:r>
            <a:r>
              <a:rPr lang="cs-CZ" dirty="0" err="1"/>
              <a:t>mapping</a:t>
            </a:r>
            <a:r>
              <a:rPr lang="cs-CZ" dirty="0"/>
              <a:t> – zdroj </a:t>
            </a:r>
            <a:r>
              <a:rPr lang="cs-CZ" dirty="0" smtClean="0"/>
              <a:t>UZIS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219914" y="951378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09290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7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7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95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8.12.2021 0:22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7428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308184"/>
              </p:ext>
            </p:extLst>
          </p:nvPr>
        </p:nvGraphicFramePr>
        <p:xfrm>
          <a:off x="367815" y="761755"/>
          <a:ext cx="11405086" cy="6215050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</a:t>
                      </a:r>
                      <a:r>
                        <a:rPr lang="cs-CZ" sz="1300" b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así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 </a:t>
                      </a:r>
                      <a:r>
                        <a:rPr lang="cs-CZ" sz="1300" b="0" kern="1200" baseline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pacity  chirurgického J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Situace na úrovni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tea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, maximalizovány kapacity standardní i intenzivní péče, menší rezerva lůžek zůstává. Další navýšení kapacit by ale již bylo velmi problematické. Krizovou situaci nelze nadále vyloučit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; akutní problémy jednotlivých ZZ řešeny ve spolupráci s dispečinkem ZZS MSK a/anebo mezi nemocničními transporty v rámci kraje, při stávajících trendech a predikcích by situace měla být nadále řešitelná v rámci kra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720369"/>
              </p:ext>
            </p:extLst>
          </p:nvPr>
        </p:nvGraphicFramePr>
        <p:xfrm>
          <a:off x="279292" y="841021"/>
          <a:ext cx="11587543" cy="481342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gnace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307675"/>
              </p:ext>
            </p:extLst>
          </p:nvPr>
        </p:nvGraphicFramePr>
        <p:xfrm>
          <a:off x="350228" y="664385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554947"/>
              </p:ext>
            </p:extLst>
          </p:nvPr>
        </p:nvGraphicFramePr>
        <p:xfrm>
          <a:off x="372867" y="838718"/>
          <a:ext cx="11435203" cy="3618504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et C19 pacientů na standardních odděleních posledních 10 dnů osciluje nebo mírně klesá, narůstá počet pacientů na C19 JIP, včetně potřeby UPV. 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74794" y="2248063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1.12.2021 0:25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76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208667"/>
              </p:ext>
            </p:extLst>
          </p:nvPr>
        </p:nvGraphicFramePr>
        <p:xfrm>
          <a:off x="332819" y="1039694"/>
          <a:ext cx="8875836" cy="5298599"/>
        </p:xfrm>
        <a:graphic>
          <a:graphicData uri="http://schemas.openxmlformats.org/drawingml/2006/table">
            <a:tbl>
              <a:tblPr/>
              <a:tblGrid>
                <a:gridCol w="2364593">
                  <a:extLst>
                    <a:ext uri="{9D8B030D-6E8A-4147-A177-3AD203B41FA5}">
                      <a16:colId xmlns:a16="http://schemas.microsoft.com/office/drawing/2014/main" val="1497303999"/>
                    </a:ext>
                  </a:extLst>
                </a:gridCol>
                <a:gridCol w="1346722">
                  <a:extLst>
                    <a:ext uri="{9D8B030D-6E8A-4147-A177-3AD203B41FA5}">
                      <a16:colId xmlns:a16="http://schemas.microsoft.com/office/drawing/2014/main" val="2938951957"/>
                    </a:ext>
                  </a:extLst>
                </a:gridCol>
                <a:gridCol w="1331062">
                  <a:extLst>
                    <a:ext uri="{9D8B030D-6E8A-4147-A177-3AD203B41FA5}">
                      <a16:colId xmlns:a16="http://schemas.microsoft.com/office/drawing/2014/main" val="2553932296"/>
                    </a:ext>
                  </a:extLst>
                </a:gridCol>
                <a:gridCol w="1331062">
                  <a:extLst>
                    <a:ext uri="{9D8B030D-6E8A-4147-A177-3AD203B41FA5}">
                      <a16:colId xmlns:a16="http://schemas.microsoft.com/office/drawing/2014/main" val="4056526571"/>
                    </a:ext>
                  </a:extLst>
                </a:gridCol>
                <a:gridCol w="1393701">
                  <a:extLst>
                    <a:ext uri="{9D8B030D-6E8A-4147-A177-3AD203B41FA5}">
                      <a16:colId xmlns:a16="http://schemas.microsoft.com/office/drawing/2014/main" val="3154734049"/>
                    </a:ext>
                  </a:extLst>
                </a:gridCol>
                <a:gridCol w="1108696">
                  <a:extLst>
                    <a:ext uri="{9D8B030D-6E8A-4147-A177-3AD203B41FA5}">
                      <a16:colId xmlns:a16="http://schemas.microsoft.com/office/drawing/2014/main" val="1765746922"/>
                    </a:ext>
                  </a:extLst>
                </a:gridCol>
              </a:tblGrid>
              <a:tr h="21915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5895782"/>
                  </a:ext>
                </a:extLst>
              </a:tr>
              <a:tr h="21915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1.12. 2021, 13:30 h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0832110"/>
                  </a:ext>
                </a:extLst>
              </a:tr>
              <a:tr h="182631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4820961"/>
                  </a:ext>
                </a:extLst>
              </a:tr>
              <a:tr h="19411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2091347"/>
                  </a:ext>
                </a:extLst>
              </a:tr>
              <a:tr h="75765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913629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294750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330758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89918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456715"/>
                  </a:ext>
                </a:extLst>
              </a:tr>
              <a:tr h="195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960522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403457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3278791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2273039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668360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0537931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4333544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542540"/>
                  </a:ext>
                </a:extLst>
              </a:tr>
              <a:tr h="1878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9908742"/>
                  </a:ext>
                </a:extLst>
              </a:tr>
              <a:tr h="2113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932808"/>
                  </a:ext>
                </a:extLst>
              </a:tr>
              <a:tr h="203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3779642"/>
                  </a:ext>
                </a:extLst>
              </a:tr>
              <a:tr h="26611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8085317"/>
                  </a:ext>
                </a:extLst>
              </a:tr>
              <a:tr h="182631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073064"/>
                  </a:ext>
                </a:extLst>
              </a:tr>
              <a:tr h="21133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242970"/>
                  </a:ext>
                </a:extLst>
              </a:tr>
              <a:tr h="18784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47678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895318"/>
              </p:ext>
            </p:extLst>
          </p:nvPr>
        </p:nvGraphicFramePr>
        <p:xfrm>
          <a:off x="332819" y="1006761"/>
          <a:ext cx="8692130" cy="5342290"/>
        </p:xfrm>
        <a:graphic>
          <a:graphicData uri="http://schemas.openxmlformats.org/drawingml/2006/table">
            <a:tbl>
              <a:tblPr/>
              <a:tblGrid>
                <a:gridCol w="1959557">
                  <a:extLst>
                    <a:ext uri="{9D8B030D-6E8A-4147-A177-3AD203B41FA5}">
                      <a16:colId xmlns:a16="http://schemas.microsoft.com/office/drawing/2014/main" val="1533381369"/>
                    </a:ext>
                  </a:extLst>
                </a:gridCol>
                <a:gridCol w="1116040">
                  <a:extLst>
                    <a:ext uri="{9D8B030D-6E8A-4147-A177-3AD203B41FA5}">
                      <a16:colId xmlns:a16="http://schemas.microsoft.com/office/drawing/2014/main" val="3699466061"/>
                    </a:ext>
                  </a:extLst>
                </a:gridCol>
                <a:gridCol w="1103062">
                  <a:extLst>
                    <a:ext uri="{9D8B030D-6E8A-4147-A177-3AD203B41FA5}">
                      <a16:colId xmlns:a16="http://schemas.microsoft.com/office/drawing/2014/main" val="3629721571"/>
                    </a:ext>
                  </a:extLst>
                </a:gridCol>
                <a:gridCol w="1103062">
                  <a:extLst>
                    <a:ext uri="{9D8B030D-6E8A-4147-A177-3AD203B41FA5}">
                      <a16:colId xmlns:a16="http://schemas.microsoft.com/office/drawing/2014/main" val="3150828967"/>
                    </a:ext>
                  </a:extLst>
                </a:gridCol>
                <a:gridCol w="1154971">
                  <a:extLst>
                    <a:ext uri="{9D8B030D-6E8A-4147-A177-3AD203B41FA5}">
                      <a16:colId xmlns:a16="http://schemas.microsoft.com/office/drawing/2014/main" val="2013043982"/>
                    </a:ext>
                  </a:extLst>
                </a:gridCol>
                <a:gridCol w="918787">
                  <a:extLst>
                    <a:ext uri="{9D8B030D-6E8A-4147-A177-3AD203B41FA5}">
                      <a16:colId xmlns:a16="http://schemas.microsoft.com/office/drawing/2014/main" val="3781845369"/>
                    </a:ext>
                  </a:extLst>
                </a:gridCol>
                <a:gridCol w="1336651">
                  <a:extLst>
                    <a:ext uri="{9D8B030D-6E8A-4147-A177-3AD203B41FA5}">
                      <a16:colId xmlns:a16="http://schemas.microsoft.com/office/drawing/2014/main" val="3910739951"/>
                    </a:ext>
                  </a:extLst>
                </a:gridCol>
              </a:tblGrid>
              <a:tr h="21098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8137912"/>
                  </a:ext>
                </a:extLst>
              </a:tr>
              <a:tr h="21807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1.12. 2021, 13:3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1360856"/>
                  </a:ext>
                </a:extLst>
              </a:tr>
              <a:tr h="193152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9721209"/>
                  </a:ext>
                </a:extLst>
              </a:tr>
              <a:tr h="1931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4150742"/>
                  </a:ext>
                </a:extLst>
              </a:tr>
              <a:tr h="75391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0647275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087844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6091478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0710061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350566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767824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9538029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9714655"/>
                  </a:ext>
                </a:extLst>
              </a:tr>
              <a:tr h="1947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9091841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003013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973426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569153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8290881"/>
                  </a:ext>
                </a:extLst>
              </a:tr>
              <a:tr h="1869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2415878"/>
                  </a:ext>
                </a:extLst>
              </a:tr>
              <a:tr h="1931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4365415"/>
                  </a:ext>
                </a:extLst>
              </a:tr>
              <a:tr h="2102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156778"/>
                  </a:ext>
                </a:extLst>
              </a:tr>
              <a:tr h="186920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4834363"/>
                  </a:ext>
                </a:extLst>
              </a:tr>
              <a:tr h="180690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287179"/>
                  </a:ext>
                </a:extLst>
              </a:tr>
              <a:tr h="35514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457136"/>
                  </a:ext>
                </a:extLst>
              </a:tr>
              <a:tr h="18692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92965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1.12.2021 0:25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5 </a:t>
            </a:r>
            <a:r>
              <a:rPr lang="cs-CZ" sz="2000" b="1" dirty="0" smtClean="0"/>
              <a:t>24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8858032"/>
              </p:ext>
            </p:extLst>
          </p:nvPr>
        </p:nvGraphicFramePr>
        <p:xfrm>
          <a:off x="332818" y="1034469"/>
          <a:ext cx="8781477" cy="5292443"/>
        </p:xfrm>
        <a:graphic>
          <a:graphicData uri="http://schemas.openxmlformats.org/drawingml/2006/table">
            <a:tbl>
              <a:tblPr/>
              <a:tblGrid>
                <a:gridCol w="1946568">
                  <a:extLst>
                    <a:ext uri="{9D8B030D-6E8A-4147-A177-3AD203B41FA5}">
                      <a16:colId xmlns:a16="http://schemas.microsoft.com/office/drawing/2014/main" val="519360293"/>
                    </a:ext>
                  </a:extLst>
                </a:gridCol>
                <a:gridCol w="1108642">
                  <a:extLst>
                    <a:ext uri="{9D8B030D-6E8A-4147-A177-3AD203B41FA5}">
                      <a16:colId xmlns:a16="http://schemas.microsoft.com/office/drawing/2014/main" val="440127722"/>
                    </a:ext>
                  </a:extLst>
                </a:gridCol>
                <a:gridCol w="1095752">
                  <a:extLst>
                    <a:ext uri="{9D8B030D-6E8A-4147-A177-3AD203B41FA5}">
                      <a16:colId xmlns:a16="http://schemas.microsoft.com/office/drawing/2014/main" val="1461659814"/>
                    </a:ext>
                  </a:extLst>
                </a:gridCol>
                <a:gridCol w="1095752">
                  <a:extLst>
                    <a:ext uri="{9D8B030D-6E8A-4147-A177-3AD203B41FA5}">
                      <a16:colId xmlns:a16="http://schemas.microsoft.com/office/drawing/2014/main" val="2968315002"/>
                    </a:ext>
                  </a:extLst>
                </a:gridCol>
                <a:gridCol w="1147315">
                  <a:extLst>
                    <a:ext uri="{9D8B030D-6E8A-4147-A177-3AD203B41FA5}">
                      <a16:colId xmlns:a16="http://schemas.microsoft.com/office/drawing/2014/main" val="2512044958"/>
                    </a:ext>
                  </a:extLst>
                </a:gridCol>
                <a:gridCol w="1327792">
                  <a:extLst>
                    <a:ext uri="{9D8B030D-6E8A-4147-A177-3AD203B41FA5}">
                      <a16:colId xmlns:a16="http://schemas.microsoft.com/office/drawing/2014/main" val="3549956679"/>
                    </a:ext>
                  </a:extLst>
                </a:gridCol>
                <a:gridCol w="1059656">
                  <a:extLst>
                    <a:ext uri="{9D8B030D-6E8A-4147-A177-3AD203B41FA5}">
                      <a16:colId xmlns:a16="http://schemas.microsoft.com/office/drawing/2014/main" val="1981932446"/>
                    </a:ext>
                  </a:extLst>
                </a:gridCol>
              </a:tblGrid>
              <a:tr h="222981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8945297"/>
                  </a:ext>
                </a:extLst>
              </a:tr>
              <a:tr h="222981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1.12. 2021, 13:30 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0586084"/>
                  </a:ext>
                </a:extLst>
              </a:tr>
              <a:tr h="1974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0902240"/>
                  </a:ext>
                </a:extLst>
              </a:tr>
              <a:tr h="22298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8161984"/>
                  </a:ext>
                </a:extLst>
              </a:tr>
              <a:tr h="57974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1667344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320381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046760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9879729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982852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8485621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355212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60215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097187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200135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526272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338825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00310"/>
                  </a:ext>
                </a:extLst>
              </a:tr>
              <a:tr h="1911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347635"/>
                  </a:ext>
                </a:extLst>
              </a:tr>
              <a:tr h="1974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335740"/>
                  </a:ext>
                </a:extLst>
              </a:tr>
              <a:tr h="2150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5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236076"/>
                  </a:ext>
                </a:extLst>
              </a:tr>
              <a:tr h="191127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8269063"/>
                  </a:ext>
                </a:extLst>
              </a:tr>
              <a:tr h="191068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703287"/>
                  </a:ext>
                </a:extLst>
              </a:tr>
              <a:tr h="37576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2678609"/>
                  </a:ext>
                </a:extLst>
              </a:tr>
              <a:tr h="19112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5771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1.12.2021 11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022207"/>
              </p:ext>
            </p:extLst>
          </p:nvPr>
        </p:nvGraphicFramePr>
        <p:xfrm>
          <a:off x="1440866" y="2023571"/>
          <a:ext cx="5883126" cy="3122290"/>
        </p:xfrm>
        <a:graphic>
          <a:graphicData uri="http://schemas.openxmlformats.org/drawingml/2006/table">
            <a:tbl>
              <a:tblPr/>
              <a:tblGrid>
                <a:gridCol w="3671018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10806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01302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2.2021 6:3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2.2021 9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2.2021 21:1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Mladá </a:t>
                      </a:r>
                      <a:r>
                        <a:rPr lang="cs-CZ" sz="13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leslav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14:47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H Hospital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.s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,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řovic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7:5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2689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. Pardubického kraje, a.s., Svitavská nem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8:3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32956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S PLUS s.r.o., Nemocnice Ostr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 9:5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117458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lezská nemocnice v Opavě</a:t>
                      </a:r>
                      <a:endParaRPr lang="cs-CZ" sz="13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:12.2021 19:20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975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Mezikrajové překlady pacientů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2819" y="1977911"/>
            <a:ext cx="11684522" cy="440989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600" b="1" dirty="0" smtClean="0"/>
              <a:t>10.12. 2021:</a:t>
            </a:r>
          </a:p>
          <a:p>
            <a:pPr marL="0" indent="0">
              <a:buNone/>
            </a:pPr>
            <a:r>
              <a:rPr lang="cs-CZ" sz="2600" dirty="0" smtClean="0"/>
              <a:t>(MSK) </a:t>
            </a:r>
            <a:r>
              <a:rPr lang="cs-CZ" sz="2600" dirty="0" err="1" smtClean="0"/>
              <a:t>nem</a:t>
            </a:r>
            <a:r>
              <a:rPr lang="cs-CZ" sz="2600" dirty="0" smtClean="0"/>
              <a:t>. Frýdek Místek,1x pac. ARO, UPV, C+, s potřebou ECMO, přeložen do </a:t>
            </a:r>
            <a:r>
              <a:rPr lang="cs-CZ" sz="2600" dirty="0" err="1" smtClean="0"/>
              <a:t>nem</a:t>
            </a:r>
            <a:r>
              <a:rPr lang="cs-CZ" sz="2600" dirty="0" smtClean="0"/>
              <a:t>. Olomouc (OLK)</a:t>
            </a:r>
          </a:p>
          <a:p>
            <a:pPr marL="0" indent="0">
              <a:buNone/>
            </a:pPr>
            <a:endParaRPr lang="cs-CZ" sz="2600" dirty="0" smtClean="0"/>
          </a:p>
        </p:txBody>
      </p:sp>
    </p:spTree>
    <p:extLst>
      <p:ext uri="{BB962C8B-B14F-4D97-AF65-F5344CB8AC3E}">
        <p14:creationId xmlns:p14="http://schemas.microsoft.com/office/powerpoint/2010/main" val="3225421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Přehled hospitalizací C+ k 10.12.2021 0:30 hod.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18006"/>
              </p:ext>
            </p:extLst>
          </p:nvPr>
        </p:nvGraphicFramePr>
        <p:xfrm>
          <a:off x="879854" y="1378034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2163018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163018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1227513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935505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200" b="0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200" b="0" i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k 10.12.2021 0:30 hod.</a:t>
                      </a:r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200" b="0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5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21</a:t>
                      </a:r>
                      <a:endParaRPr lang="cs-CZ" sz="2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08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2,3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0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čko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5  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,2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8 (66,8%)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končené očko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26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0,5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21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2    </a:t>
                      </a:r>
                      <a:r>
                        <a:rPr lang="cs-CZ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,5%)</a:t>
                      </a:r>
                      <a:endParaRPr lang="cs-CZ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očko</a:t>
                      </a:r>
                      <a:endParaRPr lang="cs-CZ" sz="14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93 (50,6%)</a:t>
                      </a:r>
                      <a:endParaRPr lang="cs-CZ" sz="14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0064493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0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5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5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78521" y="3577107"/>
            <a:ext cx="1056860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sng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NDLP,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</a:t>
            </a: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Covid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vrtulníky PČR + AČR – přechod do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stand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 by režimu (ukončení činnosti) od 11.12.2021 pro nevytíženost. Přechod do pohotovostního režimu by se řešil při zhoršující se situaci.</a:t>
            </a:r>
          </a:p>
          <a:p>
            <a:pPr marL="342900" lvl="0" indent="-342900">
              <a:spcAft>
                <a:spcPts val="600"/>
              </a:spcAft>
              <a:buFontTx/>
              <a:buAutoNum type="arabicParenR"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36778" y="2028328"/>
            <a:ext cx="52548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u="sng" dirty="0" smtClean="0"/>
              <a:t>Hodnocení:</a:t>
            </a:r>
          </a:p>
          <a:p>
            <a:r>
              <a:rPr lang="cs-CZ" dirty="0" smtClean="0"/>
              <a:t>Uvedené kapacity a obsazenost JIP v posledním týdnu oscilují kolem uvedených hodnot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3044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807061" y="5047599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22:4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0538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740</TotalTime>
  <Words>2664</Words>
  <Application>Microsoft Office PowerPoint</Application>
  <PresentationFormat>Širokoúhlá obrazovka</PresentationFormat>
  <Paragraphs>721</Paragraphs>
  <Slides>19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9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Mezikrajové překlady pacientů</vt:lpstr>
      <vt:lpstr>NDLP – Přehled hospitalizací C+ k 10.12.2021 0:30 hod.</vt:lpstr>
      <vt:lpstr>NDLP - Souhrn - aktualizace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691</cp:revision>
  <cp:lastPrinted>2020-10-20T04:21:56Z</cp:lastPrinted>
  <dcterms:created xsi:type="dcterms:W3CDTF">2020-07-15T10:33:32Z</dcterms:created>
  <dcterms:modified xsi:type="dcterms:W3CDTF">2021-12-11T13:23:31Z</dcterms:modified>
</cp:coreProperties>
</file>